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576" y="120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AB9BD83-2AB0-4B74-AB8D-3C141C871FF0}"/>
    <pc:docChg chg="delSld">
      <pc:chgData name="Meyer Raphael (PAR-ES)" userId="79615dfe-ed48-4e74-a40f-4f7b034c1c27" providerId="ADAL" clId="{EAB9BD83-2AB0-4B74-AB8D-3C141C871FF0}" dt="2022-02-21T12:46:15.248" v="0" actId="47"/>
      <pc:docMkLst>
        <pc:docMk/>
      </pc:docMkLst>
      <pc:sldChg chg="del">
        <pc:chgData name="Meyer Raphael (PAR-ES)" userId="79615dfe-ed48-4e74-a40f-4f7b034c1c27" providerId="ADAL" clId="{EAB9BD83-2AB0-4B74-AB8D-3C141C871FF0}" dt="2022-02-21T12:46:15.248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AB9BD83-2AB0-4B74-AB8D-3C141C871FF0}" dt="2022-02-21T12:46:15.248" v="0" actId="47"/>
        <pc:sldMkLst>
          <pc:docMk/>
          <pc:sldMk cId="2102945685" sldId="404"/>
        </pc:sldMkLst>
      </pc:sldChg>
      <pc:sldChg chg="del">
        <pc:chgData name="Meyer Raphael (PAR-ES)" userId="79615dfe-ed48-4e74-a40f-4f7b034c1c27" providerId="ADAL" clId="{EAB9BD83-2AB0-4B74-AB8D-3C141C871FF0}" dt="2022-02-21T12:46:15.248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4C67D90F-5267-4B83-A05D-7450935D777C}"/>
    <pc:docChg chg="modSld">
      <pc:chgData name="Meyer Raphael (PAR-ES)" userId="79615dfe-ed48-4e74-a40f-4f7b034c1c27" providerId="ADAL" clId="{4C67D90F-5267-4B83-A05D-7450935D777C}" dt="2023-02-22T13:37:47.848" v="3" actId="27918"/>
      <pc:docMkLst>
        <pc:docMk/>
      </pc:docMkLst>
      <pc:sldChg chg="mod">
        <pc:chgData name="Meyer Raphael (PAR-ES)" userId="79615dfe-ed48-4e74-a40f-4f7b034c1c27" providerId="ADAL" clId="{4C67D90F-5267-4B83-A05D-7450935D777C}" dt="2023-02-22T13:37:47.848" v="3" actId="27918"/>
        <pc:sldMkLst>
          <pc:docMk/>
          <pc:sldMk cId="3613367002" sldId="402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86A99FCC-6F7B-4FC5-B31D-D6D058FD1A5C}"/>
    <pc:docChg chg="modSld">
      <pc:chgData name="Weigel Stefan (PAR-EPS)" userId="fd3b2067-2981-4ad8-bf3a-d2e1004e4fa8" providerId="ADAL" clId="{86A99FCC-6F7B-4FC5-B31D-D6D058FD1A5C}" dt="2024-02-28T08:35:09.378" v="39" actId="27918"/>
      <pc:docMkLst>
        <pc:docMk/>
      </pc:docMkLst>
      <pc:sldChg chg="mod">
        <pc:chgData name="Weigel Stefan (PAR-EPS)" userId="fd3b2067-2981-4ad8-bf3a-d2e1004e4fa8" providerId="ADAL" clId="{86A99FCC-6F7B-4FC5-B31D-D6D058FD1A5C}" dt="2024-02-28T08:35:09.378" v="39" actId="27918"/>
        <pc:sldMkLst>
          <pc:docMk/>
          <pc:sldMk cId="3613367002" sldId="402"/>
        </pc:sldMkLst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Weigel Stefan (PAR-EPS)" userId="fd3b2067-2981-4ad8-bf3a-d2e1004e4fa8" providerId="ADAL" clId="{22FFED9B-7E47-4092-8C01-B39B75CAF1D4}"/>
    <pc:docChg chg="modSld">
      <pc:chgData name="Weigel Stefan (PAR-EPS)" userId="fd3b2067-2981-4ad8-bf3a-d2e1004e4fa8" providerId="ADAL" clId="{22FFED9B-7E47-4092-8C01-B39B75CAF1D4}" dt="2024-03-10T07:34:54.196" v="16" actId="20577"/>
      <pc:docMkLst>
        <pc:docMk/>
      </pc:docMkLst>
      <pc:sldChg chg="modSp mod">
        <pc:chgData name="Weigel Stefan (PAR-EPS)" userId="fd3b2067-2981-4ad8-bf3a-d2e1004e4fa8" providerId="ADAL" clId="{22FFED9B-7E47-4092-8C01-B39B75CAF1D4}" dt="2024-03-10T07:34:54.196" v="16" actId="20577"/>
        <pc:sldMkLst>
          <pc:docMk/>
          <pc:sldMk cId="3613367002" sldId="402"/>
        </pc:sldMkLst>
        <pc:spChg chg="mod">
          <ac:chgData name="Weigel Stefan (PAR-EPS)" userId="fd3b2067-2981-4ad8-bf3a-d2e1004e4fa8" providerId="ADAL" clId="{22FFED9B-7E47-4092-8C01-B39B75CAF1D4}" dt="2024-03-10T07:34:54.196" v="16" actId="20577"/>
          <ac:spMkLst>
            <pc:docMk/>
            <pc:sldMk cId="3613367002" sldId="402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208917430735263E-2"/>
          <c:y val="0.13279676246680386"/>
          <c:w val="0.90365307677911244"/>
          <c:h val="0.668446298321161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Résultat du groupe</c:v>
                </c:pt>
              </c:strCache>
            </c:strRef>
          </c:tx>
          <c:spPr>
            <a:solidFill>
              <a:srgbClr val="D9D9D9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9-BF2A-4774-B694-5AFB2344A678}"/>
              </c:ext>
            </c:extLst>
          </c:dPt>
          <c:dPt>
            <c:idx val="1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8-BF2A-4774-B694-5AFB2344A678}"/>
              </c:ext>
            </c:extLst>
          </c:dPt>
          <c:dPt>
            <c:idx val="2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BF2A-4774-B694-5AFB2344A678}"/>
              </c:ext>
            </c:extLst>
          </c:dPt>
          <c:dPt>
            <c:idx val="3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6-BF2A-4774-B694-5AFB2344A678}"/>
              </c:ext>
            </c:extLst>
          </c:dPt>
          <c:dPt>
            <c:idx val="4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5-BF2A-4774-B694-5AFB2344A678}"/>
              </c:ext>
            </c:extLst>
          </c:dPt>
          <c:dPt>
            <c:idx val="5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4-BF2A-4774-B694-5AFB2344A678}"/>
              </c:ext>
            </c:extLst>
          </c:dPt>
          <c:dPt>
            <c:idx val="6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3-BF2A-4774-B694-5AFB2344A678}"/>
              </c:ext>
            </c:extLst>
          </c:dPt>
          <c:dPt>
            <c:idx val="7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2-BF2A-4774-B694-5AFB2344A678}"/>
              </c:ext>
            </c:extLst>
          </c:dPt>
          <c:dPt>
            <c:idx val="8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BF2A-4774-B694-5AFB2344A678}"/>
              </c:ext>
            </c:extLst>
          </c:dPt>
          <c:dPt>
            <c:idx val="9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0-BF2A-4774-B694-5AFB2344A678}"/>
              </c:ext>
            </c:extLst>
          </c:dPt>
          <c:dPt>
            <c:idx val="10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1-62E8-444B-A150-582B1759E386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0.0</c:formatCode>
                <c:ptCount val="11"/>
                <c:pt idx="0">
                  <c:v>238.247733949999</c:v>
                </c:pt>
                <c:pt idx="1">
                  <c:v>372.88296333000102</c:v>
                </c:pt>
                <c:pt idx="2">
                  <c:v>245.66372648999999</c:v>
                </c:pt>
                <c:pt idx="3">
                  <c:v>380.637372325878</c:v>
                </c:pt>
                <c:pt idx="4">
                  <c:v>398.95878820453299</c:v>
                </c:pt>
                <c:pt idx="5">
                  <c:v>568.40585356027998</c:v>
                </c:pt>
                <c:pt idx="6">
                  <c:v>463.48435327405701</c:v>
                </c:pt>
                <c:pt idx="7">
                  <c:v>-617.01844565235501</c:v>
                </c:pt>
                <c:pt idx="8">
                  <c:v>-325.330509616754</c:v>
                </c:pt>
                <c:pt idx="9">
                  <c:v>-245.36702553034399</c:v>
                </c:pt>
                <c:pt idx="10">
                  <c:v>266.534051128423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E8-444B-A150-582B1759E3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8999424"/>
        <c:axId val="129000960"/>
      </c:barChart>
      <c:catAx>
        <c:axId val="128999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solidFill>
            <a:schemeClr val="bg1"/>
          </a:solidFill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29000960"/>
        <c:crosses val="autoZero"/>
        <c:auto val="1"/>
        <c:lblAlgn val="ctr"/>
        <c:lblOffset val="100"/>
        <c:noMultiLvlLbl val="0"/>
      </c:catAx>
      <c:valAx>
        <c:axId val="129000960"/>
        <c:scaling>
          <c:orientation val="minMax"/>
          <c:max val="800"/>
          <c:min val="-8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##0;\−#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28999424"/>
        <c:crosses val="autoZero"/>
        <c:crossBetween val="between"/>
        <c:majorUnit val="20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2239</cdr:y>
    </cdr:from>
    <cdr:to>
      <cdr:x>0.05902</cdr:x>
      <cdr:y>0.0751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89566"/>
          <a:ext cx="543986" cy="2112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900" dirty="0"/>
            <a:t>Mio. </a:t>
          </a:r>
          <a:r>
            <a:rPr lang="de-CH" sz="900" dirty="0">
              <a:solidFill>
                <a:srgbClr val="444444"/>
              </a:solidFill>
            </a:rPr>
            <a:t>CHF</a:t>
          </a:r>
          <a:endParaRPr lang="de-CH" sz="9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10.03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07749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2046CFF-74E2-4454-B6E3-B6BB8B051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59" progId="TCLayout.ActiveDocument.1">
                  <p:embed/>
                </p:oleObj>
              </mc:Choice>
              <mc:Fallback>
                <p:oleObj name="think-cell Folie" r:id="rId4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2046CFF-74E2-4454-B6E3-B6BB8B051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Résultat </a:t>
            </a:r>
            <a:r>
              <a:rPr lang="fr-CH"/>
              <a:t>du groupe CFF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050263143"/>
              </p:ext>
            </p:extLst>
          </p:nvPr>
        </p:nvGraphicFramePr>
        <p:xfrm>
          <a:off x="1487488" y="1875484"/>
          <a:ext cx="9217025" cy="4000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B4B6626-9A0F-4741-8F83-BF160AB040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613367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9DA3134-61A3-4893-AF45-E846B089F20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7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Résultat du groupe CFF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ésultat du groupe CFF.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4-03-10T07:37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